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43" d="100"/>
          <a:sy n="143" d="100"/>
        </p:scale>
        <p:origin x="126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A2924-7006-4426-8717-DB45125D7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7C2CF0-4F07-4C46-BC99-60956E3DC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810C7-0DAE-4157-9FC7-26CD85EF8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BA35-49D7-4F18-993E-DCE060DFC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9751A-46DE-4D71-8897-5E6555B42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17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FE51E-5060-43AB-9EA0-425142FA6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8AD3D1-A0C4-4AA2-BAD0-5450C20F77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17496-5AF5-4B87-8F85-C1914CF6E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6FF95-08C2-483C-9739-1156F3637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A563C-975E-4015-BE1D-EE6FCDAEF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9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737EF6-83F2-41A6-90DA-EF69B3F00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7D7ED2-15ED-40AF-9BA3-1CBEBCA0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00A6-D134-4051-9A38-6A01A9487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90B4A-99DF-4640-97AA-DB9A0AC3F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EAA00-871E-4374-B489-468277CAA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1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39F8B-A5D2-43CC-B49B-A4DE0859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8015A5-644A-46D9-A272-192CA8089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E402F-2B09-4505-8367-DD74B12DD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7B977-E450-45C1-8C35-D2A201AE1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3D9E9-EDE8-4CFF-917D-FBEE8377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2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B303-2B50-4A6F-98AB-A826FD42D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50913-015F-4BCF-B063-AA620E72E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2087E-E43F-4D37-A452-A3ADCB29A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B2987-8E6D-45AD-9EDD-0407835B0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BCF34-861C-4D80-83CE-33001C2B5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47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1E3E4-72BA-41B3-9881-7C837C0AE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FDEA6-244F-4476-8DC4-FC9BB53E6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EA9296-09BD-48AC-8BCC-3D85426DF9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A4612-764E-4F94-ACD1-7787F29C3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2B10F-5A7C-4D0A-84F6-71D084C50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EB3C5E-C200-45BE-8C87-D90A99D1A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7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19946-0707-40C7-A339-8C8C285DA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E1186B-91A4-4301-B625-B775E2475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CCEE4-5DF4-4681-9425-58DB9EA09D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703378-2DDE-4390-8E69-AC133CCC0A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1086C4-0A51-4F8B-B8B9-3EBA733DF7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34015E-31A4-47EF-8F61-B11A692F0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765F7A-E28E-438B-9D44-E4408C7AE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8F6D6A-4589-410F-9011-2BAA98C45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007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630E7-BAE1-4F70-B562-8A41534AA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CCE4A7-B1AE-4392-9ADD-114F8CE47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59C2-6964-4E39-BF4E-E61AA13C7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999B-38F4-4C3A-B637-4AAB8A13F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45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2EA295-C32C-4FEE-B594-DB7F5DFCD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E20C5-A595-4D04-B95C-598A534C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1A989-0EA1-412E-903E-F333E4C3B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23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C92F4-6779-4364-B2FE-8930604FA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161BD-6288-4654-9E6C-531FBD9815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8499F-5564-43B3-B7A5-3C77D334CF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2B465A-1B2B-4600-A065-807CDFD51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C3BEB1-77CD-4B81-9F71-C148D046C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48D15C-E870-48D4-8930-C859C192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20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330E6-0102-4437-898D-59937700C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AAD560-DF19-43E0-8360-FF8E8EE06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87C69-D1EB-495C-9CB7-76ABD6012F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9AC91-3E60-4DF9-9644-B57FB22D3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7A1DD6-CF99-41AA-9AA4-3CC6474FC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0F6A74-C1FC-4743-87F4-06C95A79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977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07E29F-AE09-4F73-825E-B560D4C7D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37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202663-2769-4E16-BB7A-B95251FB6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22B4C-4A9C-4C3B-985F-94D9CE4CD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F54F6-0F96-4AD1-8FB6-2B3EF9C17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0BD26-39F4-457D-9F20-B9B86BE37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EAD23-B93B-4D55-BBA9-932A260CA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030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?><Relationships xmlns="http://schemas.openxmlformats.org/package/2006/relationships"><Relationship Type="http://schemas.openxmlformats.org/officeDocument/2006/relationships/slideLayout" Target="../slideLayouts/slideLayout6.xml" Id="rId3" /><Relationship Type="http://schemas.openxmlformats.org/officeDocument/2006/relationships/tags" Target="../tags/tag3.xml" Id="rId2" /><Relationship Type="http://schemas.openxmlformats.org/officeDocument/2006/relationships/vmlDrawing" Target="../drawings/vmlDrawing2.vml" Id="rId1" /><Relationship Type="http://schemas.openxmlformats.org/officeDocument/2006/relationships/image" Target="../media/image1.emf" Id="rId5" /><Relationship Type="http://schemas.openxmlformats.org/officeDocument/2006/relationships/oleObject" Target="../embeddings/oleObject2.bin" Id="rId4" /><Relationship Type="http://schemas.openxmlformats.org/officeDocument/2006/relationships/image" Target="/ppt/media/image.png" Id="R9b6674be50e14e90" 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865B1C-4D0C-48FC-8611-7AEFC9637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34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55CDC79-ECD3-4F24-A004-B0F36FC5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rst Slide</a:t>
            </a:r>
          </a:p>
        </p:txBody>
      </p:sp>
      <p:pic>
        <p:nvPicPr>
          <p:cNvPr id="3" name="My Shape"/>
          <p:cNvPicPr>
            <a:picLocks noChangeAspect="1"/>
          </p:cNvPicPr>
          <p:nvPr/>
        </p:nvPicPr>
        <p:blipFill>
          <a:blip r:embed="R9b6674be50e14e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600000" cy="6400000"/>
          </a:xfrm>
          <a:prstGeom prst="rect"/>
        </p:spPr>
      </p:pic>
    </p:spTree>
    <p:extLst>
      <p:ext uri="{BB962C8B-B14F-4D97-AF65-F5344CB8AC3E}">
        <p14:creationId xmlns:p14="http://schemas.microsoft.com/office/powerpoint/2010/main" val="573675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First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rnekow</dc:creator>
  <cp:lastModifiedBy>Thomas Barnekow</cp:lastModifiedBy>
  <cp:revision>3</cp:revision>
  <dcterms:created xsi:type="dcterms:W3CDTF">2021-12-15T12:38:22Z</dcterms:created>
  <dcterms:modified xsi:type="dcterms:W3CDTF">2021-12-15T12:40:52Z</dcterms:modified>
</cp:coreProperties>
</file>